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01" r:id="rId4"/>
  </p:sldMasterIdLst>
  <p:notesMasterIdLst>
    <p:notesMasterId r:id="rId30"/>
  </p:notesMasterIdLst>
  <p:sldIdLst>
    <p:sldId id="1676" r:id="rId5"/>
    <p:sldId id="1611" r:id="rId6"/>
    <p:sldId id="1606" r:id="rId7"/>
    <p:sldId id="1689" r:id="rId8"/>
    <p:sldId id="1691" r:id="rId9"/>
    <p:sldId id="1692" r:id="rId10"/>
    <p:sldId id="1693" r:id="rId11"/>
    <p:sldId id="1694" r:id="rId12"/>
    <p:sldId id="1695" r:id="rId13"/>
    <p:sldId id="1696" r:id="rId14"/>
    <p:sldId id="1697" r:id="rId15"/>
    <p:sldId id="1698" r:id="rId16"/>
    <p:sldId id="1699" r:id="rId17"/>
    <p:sldId id="1700" r:id="rId18"/>
    <p:sldId id="1701" r:id="rId19"/>
    <p:sldId id="1702" r:id="rId20"/>
    <p:sldId id="1703" r:id="rId21"/>
    <p:sldId id="1704" r:id="rId22"/>
    <p:sldId id="1706" r:id="rId23"/>
    <p:sldId id="1707" r:id="rId24"/>
    <p:sldId id="1708" r:id="rId25"/>
    <p:sldId id="1709" r:id="rId26"/>
    <p:sldId id="1710" r:id="rId27"/>
    <p:sldId id="1690" r:id="rId28"/>
    <p:sldId id="1712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4100"/>
    <a:srgbClr val="AA48F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461"/>
  </p:normalViewPr>
  <p:slideViewPr>
    <p:cSldViewPr snapToGrid="0" snapToObjects="1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3D0645-6491-924B-B0B0-6CE4C12E675E}" type="datetimeFigureOut">
              <a:rPr lang="en-US" smtClean="0"/>
              <a:t>09-Oct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0D2461-D05C-0845-8236-97E6F144EE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9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942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912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056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114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57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209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04718D-CBDC-0E4E-87C5-43EB1B528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44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5CA54-EFB6-D842-82B4-9D44464FC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13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4D74E7-CD3B-1149-8E19-92421714CF79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52FA851-3B2C-BE40-81F8-B02EC00721FC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2498644-4A50-5E4B-A00F-C1017D3701E0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29856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79B7E-A1E2-2F4C-B194-A8B98128C891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38915C2-F88F-E645-AF3C-29AF0281BF7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58F40255-AC58-B146-BF16-F57B17C388DD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6351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41BF3C6-86FD-3A44-8CF8-0A7A26E5E228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0576" y="210953"/>
            <a:ext cx="8388096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460E37-A00A-9C43-87A8-27A6CDEFC73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55AE025-2CF8-8547-BE34-8CC2E06DD203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A19FF9B-004B-7E4C-95BD-71024E7601C9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FC340C4-67F0-F34A-8400-BDB748B8B1F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14616" y="1146267"/>
            <a:ext cx="1652651" cy="165265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44570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90E9F78-8F75-D24C-8B8C-D22607F61B2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0E9AC6-F37F-3747-BABD-31506F773DE6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09277C98-6A1D-7645-AB65-0B7566641757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77EEE67-8967-2643-B6C2-391C0C58CBA3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9011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003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4AB7DD9-9A36-4B40-A48F-D70A8DDA965B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C57DFB4-2DB0-9A45-8E0B-3C5B745DD40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A1070B5-0756-3F45-AD43-0D4B5DE5D410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4B295DD8-2AD6-F747-8C86-305A7EA9B0F8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159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5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49D7E85-CD40-1A45-9D09-3D68055541A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DB91EBD-EF03-F949-A5B2-04DCA8E05181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425B2B9-B694-004D-AE19-7DEEEA93539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FF06893-5107-9D45-A19A-F0BB769E12BC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768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817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30240" y="0"/>
            <a:ext cx="6614160" cy="6872296"/>
          </a:xfrm>
          <a:solidFill>
            <a:schemeClr val="accent1"/>
          </a:solidFill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501640" y="-14296"/>
            <a:ext cx="228600" cy="6872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15" name="Freeform 14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9168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-Q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FF2BA3-44B5-9F41-B215-B2D638C5E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335" r="1778" b="14242"/>
          <a:stretch/>
        </p:blipFill>
        <p:spPr>
          <a:xfrm>
            <a:off x="3159756" y="1705433"/>
            <a:ext cx="9064419" cy="374366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9129" y="3429000"/>
            <a:ext cx="6382871" cy="634355"/>
          </a:xfrm>
          <a:solidFill>
            <a:schemeClr val="bg1">
              <a:alpha val="29000"/>
            </a:schemeClr>
          </a:solidFill>
        </p:spPr>
        <p:txBody>
          <a:bodyPr anchor="ctr" anchorCtr="0">
            <a:normAutofit/>
          </a:bodyPr>
          <a:lstStyle>
            <a:lvl1pPr marL="0" indent="0" algn="l">
              <a:buNone/>
              <a:defRPr sz="3200" b="0">
                <a:ln>
                  <a:noFill/>
                </a:ln>
                <a:solidFill>
                  <a:sysClr val="windowText" lastClr="00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Title can go her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38FA51DE-4449-DD4E-BFF6-7E9BE0C6D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101E4D-1F74-384A-B9E1-42176F5D990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56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1942032"/>
            <a:ext cx="3855720" cy="127642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97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8 Sl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21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7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53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21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7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53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6CAF25-B2AB-9543-822F-5F05F0D6B5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233EB4-CE78-C449-A4B8-7F7F0F8288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861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D4A13A0-76EC-5C4B-B401-B23F4BAB0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11586" y="5570934"/>
            <a:ext cx="6441141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11588" y="2030506"/>
            <a:ext cx="6441140" cy="3540427"/>
          </a:xfrm>
          <a:noFill/>
        </p:spPr>
        <p:txBody>
          <a:bodyPr anchor="ctr" anchorCtr="0">
            <a:noAutofit/>
          </a:bodyPr>
          <a:lstStyle>
            <a:lvl1pPr algn="l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11775" y="6038850"/>
            <a:ext cx="6440488" cy="3698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6B2309B-0CBF-8045-B701-48458E830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046" y="381000"/>
            <a:ext cx="2599722" cy="649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344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sunset in the background&#10;&#10;Description automatically generated">
            <a:extLst>
              <a:ext uri="{FF2B5EF4-FFF2-40B4-BE49-F238E27FC236}">
                <a16:creationId xmlns:a16="http://schemas.microsoft.com/office/drawing/2014/main" id="{FF33B798-8613-8145-9556-7DA1D317BF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8"/>
            <a:ext cx="12214117" cy="685307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BAF1DB3-ECAC-5C45-AE18-EBA28E539140}"/>
              </a:ext>
            </a:extLst>
          </p:cNvPr>
          <p:cNvSpPr/>
          <p:nvPr userDrawn="1"/>
        </p:nvSpPr>
        <p:spPr>
          <a:xfrm>
            <a:off x="0" y="1172584"/>
            <a:ext cx="12902005" cy="5315845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1020011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37474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490537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92338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1" hasCustomPrompt="1"/>
          </p:nvPr>
        </p:nvSpPr>
        <p:spPr>
          <a:xfrm>
            <a:off x="1021090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20015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41" hasCustomPrompt="1"/>
          </p:nvPr>
        </p:nvSpPr>
        <p:spPr>
          <a:xfrm>
            <a:off x="3748545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3747469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44" hasCustomPrompt="1"/>
          </p:nvPr>
        </p:nvSpPr>
        <p:spPr>
          <a:xfrm>
            <a:off x="6488443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46" hasCustomPrompt="1"/>
          </p:nvPr>
        </p:nvSpPr>
        <p:spPr>
          <a:xfrm>
            <a:off x="6487367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47" hasCustomPrompt="1"/>
          </p:nvPr>
        </p:nvSpPr>
        <p:spPr>
          <a:xfrm>
            <a:off x="9242788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49" hasCustomPrompt="1"/>
          </p:nvPr>
        </p:nvSpPr>
        <p:spPr>
          <a:xfrm>
            <a:off x="9214820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B0123B-2E8C-4A4E-984D-DF0D179F20F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2FF636-7DFB-874D-9CDE-B92224B122C5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563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1C43564-6A2B-8240-A332-FF6C4397E7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350" b="39402"/>
          <a:stretch/>
        </p:blipFill>
        <p:spPr>
          <a:xfrm>
            <a:off x="0" y="4851699"/>
            <a:ext cx="12192000" cy="199613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7937" y="2200233"/>
            <a:ext cx="4538397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6216" y="2200233"/>
            <a:ext cx="4534930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object 9"/>
          <p:cNvSpPr/>
          <p:nvPr userDrawn="1"/>
        </p:nvSpPr>
        <p:spPr>
          <a:xfrm rot="2700000">
            <a:off x="5524759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9"/>
          <p:cNvSpPr/>
          <p:nvPr userDrawn="1"/>
        </p:nvSpPr>
        <p:spPr>
          <a:xfrm rot="2700000">
            <a:off x="5092273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CEED90-A497-1641-9E59-A29C6AF4EC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4EACA-55D0-C448-A833-1510F29124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395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F6E4FC-6256-314C-909E-60B8F1857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438041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0705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5600" y="3886200"/>
            <a:ext cx="11480800" cy="29718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1" y="142510"/>
            <a:ext cx="9789885" cy="486887"/>
          </a:xfrm>
        </p:spPr>
        <p:txBody>
          <a:bodyPr>
            <a:noAutofit/>
          </a:bodyPr>
          <a:lstStyle>
            <a:lvl1pPr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6165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2F6A333-4961-5346-AB8D-E59E6F482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081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878351" y="1116282"/>
            <a:ext cx="4429699" cy="4432605"/>
          </a:xfrm>
          <a:prstGeom prst="ellipse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920B0-BE8A-324F-93D7-41470825B6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705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17649" y="1918919"/>
            <a:ext cx="4558807" cy="36879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13737" y="1455870"/>
            <a:ext cx="4558807" cy="3687948"/>
          </a:xfr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76288C-F08E-FB4A-AAC2-552678CA4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836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B4EE4-21B0-9241-8DC6-763DDC939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566CB9F5-C5B7-DD4E-BF1E-679CCF4AF0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024" y="1403349"/>
            <a:ext cx="8988059" cy="5034027"/>
          </a:xfrm>
        </p:spPr>
        <p:txBody>
          <a:bodyPr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C1E27FC6-54AC-3244-A5DB-5834141302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720" y="701675"/>
            <a:ext cx="11471363" cy="4508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spc="0" baseline="0">
                <a:latin typeface="+mj-lt"/>
                <a:ea typeface="Roboto Light" panose="020000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  <a:endParaRPr lang="en-US" dirty="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60F90B3-C6CB-0D40-AA88-5FFD28C6FA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5813" y="6290968"/>
            <a:ext cx="1476188" cy="486833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333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477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674331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43314" y="0"/>
            <a:ext cx="5448687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583A46-A8AE-5F4E-99B0-7229176A0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77" y="0"/>
            <a:ext cx="6010655" cy="5852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66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1" cy="3541487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83457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568599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214030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99171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DE36CF-0D1B-E54E-B08E-BDFE48FBE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842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859338-2EBA-CB4A-8B4D-655AB389FF81}"/>
              </a:ext>
            </a:extLst>
          </p:cNvPr>
          <p:cNvSpPr/>
          <p:nvPr userDrawn="1"/>
        </p:nvSpPr>
        <p:spPr>
          <a:xfrm>
            <a:off x="0" y="1072896"/>
            <a:ext cx="12192000" cy="578510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80" y="5570934"/>
            <a:ext cx="11214247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480" y="4500880"/>
            <a:ext cx="11213783" cy="1070053"/>
          </a:xfrm>
          <a:noFill/>
        </p:spPr>
        <p:txBody>
          <a:bodyPr anchor="ctr" anchorCtr="0">
            <a:noAutofit/>
          </a:bodyPr>
          <a:lstStyle>
            <a:lvl1pPr algn="ctr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153" y="6038850"/>
            <a:ext cx="11213110" cy="369835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C4C97C-7DE5-3A48-A08C-F6B636EDF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17006"/>
            <a:ext cx="12192000" cy="2987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4" name="Graphic 16">
            <a:extLst>
              <a:ext uri="{FF2B5EF4-FFF2-40B4-BE49-F238E27FC236}">
                <a16:creationId xmlns:a16="http://schemas.microsoft.com/office/drawing/2014/main" id="{D82F451F-E2C2-6F45-B9F9-D37B23A2DCA2}"/>
              </a:ext>
            </a:extLst>
          </p:cNvPr>
          <p:cNvGrpSpPr/>
          <p:nvPr/>
        </p:nvGrpSpPr>
        <p:grpSpPr>
          <a:xfrm>
            <a:off x="538480" y="-12608"/>
            <a:ext cx="695256" cy="927008"/>
            <a:chOff x="538480" y="-12608"/>
            <a:chExt cx="695256" cy="92700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EA1735D-3FCD-B343-A4F0-6F8A42FAA54C}"/>
                </a:ext>
              </a:extLst>
            </p:cNvPr>
            <p:cNvSpPr/>
            <p:nvPr/>
          </p:nvSpPr>
          <p:spPr>
            <a:xfrm>
              <a:off x="538480" y="-12608"/>
              <a:ext cx="695256" cy="927008"/>
            </a:xfrm>
            <a:custGeom>
              <a:avLst/>
              <a:gdLst>
                <a:gd name="connsiteX0" fmla="*/ 0 w 695256"/>
                <a:gd name="connsiteY0" fmla="*/ 0 h 927008"/>
                <a:gd name="connsiteX1" fmla="*/ 695256 w 695256"/>
                <a:gd name="connsiteY1" fmla="*/ 0 h 927008"/>
                <a:gd name="connsiteX2" fmla="*/ 695256 w 695256"/>
                <a:gd name="connsiteY2" fmla="*/ 927008 h 927008"/>
                <a:gd name="connsiteX3" fmla="*/ 0 w 695256"/>
                <a:gd name="connsiteY3" fmla="*/ 927008 h 92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56" h="927008">
                  <a:moveTo>
                    <a:pt x="0" y="0"/>
                  </a:moveTo>
                  <a:lnTo>
                    <a:pt x="695256" y="0"/>
                  </a:lnTo>
                  <a:lnTo>
                    <a:pt x="695256" y="927008"/>
                  </a:lnTo>
                  <a:lnTo>
                    <a:pt x="0" y="927008"/>
                  </a:lnTo>
                  <a:close/>
                </a:path>
              </a:pathLst>
            </a:custGeom>
            <a:solidFill>
              <a:srgbClr val="FF4200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4D92768-C7BA-4541-911D-9DC78E43BFE4}"/>
                </a:ext>
              </a:extLst>
            </p:cNvPr>
            <p:cNvSpPr/>
            <p:nvPr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615D089-97A7-524D-8B3C-90C7E5AE0EA3}"/>
                </a:ext>
              </a:extLst>
            </p:cNvPr>
            <p:cNvSpPr/>
            <p:nvPr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0E917E31-6CAD-9345-A2C8-3E69C7509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54594" y="153645"/>
            <a:ext cx="2983445" cy="745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058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57583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613691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hape 30289"/>
          <p:cNvSpPr/>
          <p:nvPr userDrawn="1"/>
        </p:nvSpPr>
        <p:spPr>
          <a:xfrm>
            <a:off x="2322676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9" name="Shape 30289"/>
          <p:cNvSpPr/>
          <p:nvPr userDrawn="1"/>
        </p:nvSpPr>
        <p:spPr>
          <a:xfrm>
            <a:off x="8091298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F8589C4-045D-4D4E-932D-38EB3D5EB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9712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7950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73992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448323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79502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7399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4483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74B266E-77F2-4D44-8D76-2FF27113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1753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7151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99838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659547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35852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onut 6"/>
          <p:cNvSpPr>
            <a:spLocks noChangeAspect="1"/>
          </p:cNvSpPr>
          <p:nvPr userDrawn="1"/>
        </p:nvSpPr>
        <p:spPr>
          <a:xfrm>
            <a:off x="11259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9" name="Donut 8"/>
          <p:cNvSpPr>
            <a:spLocks noChangeAspect="1"/>
          </p:cNvSpPr>
          <p:nvPr userDrawn="1"/>
        </p:nvSpPr>
        <p:spPr>
          <a:xfrm>
            <a:off x="3797214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2" name="Donut 11"/>
          <p:cNvSpPr>
            <a:spLocks noChangeAspect="1"/>
          </p:cNvSpPr>
          <p:nvPr userDrawn="1"/>
        </p:nvSpPr>
        <p:spPr>
          <a:xfrm>
            <a:off x="6468446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4" name="Donut 13"/>
          <p:cNvSpPr>
            <a:spLocks noChangeAspect="1"/>
          </p:cNvSpPr>
          <p:nvPr userDrawn="1"/>
        </p:nvSpPr>
        <p:spPr>
          <a:xfrm>
            <a:off x="91396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1FF687-E4EB-BD44-B436-A450F90B6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9429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68105" y="1291783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974061" y="3668784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5320540-0640-9249-B46A-5468A21D2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832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14150" y="2918788"/>
            <a:ext cx="11163703" cy="29435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48B7D29-0F44-A845-AE8E-E567C615F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478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3323771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C0F791D-FA80-064F-9EBB-BFCCF3FA3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009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18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838701"/>
            <a:ext cx="12192000" cy="20193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DBC453-6372-8A45-B6D6-4D95E05CA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0611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771790"/>
            <a:ext cx="11067609" cy="4417095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F7D651-2335-7C49-ACE0-768672654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3285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393372"/>
            <a:ext cx="2572317" cy="48768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445830" y="1393372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445830" y="3909113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6E48AA9-6923-E344-8B18-6F227837C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935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-Q-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12" y="1778884"/>
            <a:ext cx="5009661" cy="4072977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4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C9405E-0C15-6849-83EF-1585DCFF75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D47FFF-2E4B-D84B-AEFB-7CC7B5ED33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0AE794-C4E5-B44E-9B79-0FDCFEDDA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781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561347" y="2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286909" y="1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564292" y="1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564292" y="4593773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561347" y="4593773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86909" y="4593773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5278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30987" y="2133599"/>
            <a:ext cx="1807415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0145487" y="2133599"/>
            <a:ext cx="1586492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68073" y="1712688"/>
            <a:ext cx="2436947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128002" y="1712688"/>
            <a:ext cx="2266892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934691" y="1349829"/>
            <a:ext cx="4493583" cy="304800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/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84658E6-0108-EC4D-B35B-34D3E3AB3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300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932543"/>
            <a:ext cx="4858695" cy="505187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861255" y="932543"/>
            <a:ext cx="2450795" cy="250572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284591" y="932543"/>
            <a:ext cx="2450795" cy="2505724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741205" y="932543"/>
            <a:ext cx="2450795" cy="2505724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4849245" y="3438267"/>
            <a:ext cx="4891961" cy="2546152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9737945" y="3438267"/>
            <a:ext cx="2459667" cy="254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3246D3F-0E53-0749-88DF-F1A56C268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5234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802852" y="1764378"/>
            <a:ext cx="4033549" cy="38317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A44772-4C4E-814F-9A02-DBA3C58D5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1880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293762" y="1621760"/>
            <a:ext cx="9898239" cy="4155047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096E94-AC74-614C-BCA7-E8402788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7464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" y="-1"/>
            <a:ext cx="12191999" cy="458013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2267CD-FD4F-6142-8C07-BB91FD691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4321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985607"/>
            <a:ext cx="4190459" cy="342569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8DBFF28-2BA5-344B-A38A-9CB3CA4D2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5346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4970196" cy="6858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9164C90-B40C-C54B-911D-10F1C2802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4369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127501"/>
            <a:ext cx="12192000" cy="27305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7" name="04_Tablet_Blac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43339" y="691127"/>
            <a:ext cx="4105325" cy="5475167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462231" y="1178837"/>
            <a:ext cx="3258893" cy="4329785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0A6FA1-EC0A-CE44-B420-9EF82BACE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3747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71699" y="256896"/>
            <a:ext cx="8452440" cy="5962411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078738" y="910125"/>
            <a:ext cx="4751681" cy="4296876"/>
          </a:xfrm>
          <a:custGeom>
            <a:avLst/>
            <a:gdLst>
              <a:gd name="connsiteX0" fmla="*/ 0 w 4708501"/>
              <a:gd name="connsiteY0" fmla="*/ 0 h 3560276"/>
              <a:gd name="connsiteX1" fmla="*/ 4708501 w 4708501"/>
              <a:gd name="connsiteY1" fmla="*/ 0 h 3560276"/>
              <a:gd name="connsiteX2" fmla="*/ 4708501 w 4708501"/>
              <a:gd name="connsiteY2" fmla="*/ 3560276 h 3560276"/>
              <a:gd name="connsiteX3" fmla="*/ 0 w 4708501"/>
              <a:gd name="connsiteY3" fmla="*/ 3560276 h 3560276"/>
              <a:gd name="connsiteX4" fmla="*/ 0 w 4708501"/>
              <a:gd name="connsiteY4" fmla="*/ 0 h 3560276"/>
              <a:gd name="connsiteX0" fmla="*/ 0 w 4708501"/>
              <a:gd name="connsiteY0" fmla="*/ 0 h 4296876"/>
              <a:gd name="connsiteX1" fmla="*/ 4708501 w 4708501"/>
              <a:gd name="connsiteY1" fmla="*/ 0 h 4296876"/>
              <a:gd name="connsiteX2" fmla="*/ 1558901 w 4708501"/>
              <a:gd name="connsiteY2" fmla="*/ 4296876 h 4296876"/>
              <a:gd name="connsiteX3" fmla="*/ 0 w 4708501"/>
              <a:gd name="connsiteY3" fmla="*/ 3560276 h 4296876"/>
              <a:gd name="connsiteX4" fmla="*/ 0 w 4708501"/>
              <a:gd name="connsiteY4" fmla="*/ 0 h 4296876"/>
              <a:gd name="connsiteX0" fmla="*/ 12700 w 4721201"/>
              <a:gd name="connsiteY0" fmla="*/ 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12700 w 4721201"/>
              <a:gd name="connsiteY4" fmla="*/ 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33980 w 4751681"/>
              <a:gd name="connsiteY0" fmla="*/ 88900 h 4296876"/>
              <a:gd name="connsiteX1" fmla="*/ 4751681 w 4751681"/>
              <a:gd name="connsiteY1" fmla="*/ 0 h 4296876"/>
              <a:gd name="connsiteX2" fmla="*/ 1602081 w 4751681"/>
              <a:gd name="connsiteY2" fmla="*/ 4296876 h 4296876"/>
              <a:gd name="connsiteX3" fmla="*/ 0 w 4751681"/>
              <a:gd name="connsiteY3" fmla="*/ 3611076 h 4296876"/>
              <a:gd name="connsiteX4" fmla="*/ 2633980 w 4751681"/>
              <a:gd name="connsiteY4" fmla="*/ 88900 h 429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1681" h="4296876">
                <a:moveTo>
                  <a:pt x="2633980" y="88900"/>
                </a:moveTo>
                <a:cubicBezTo>
                  <a:pt x="2692180" y="97367"/>
                  <a:pt x="4045781" y="29633"/>
                  <a:pt x="4751681" y="0"/>
                </a:cubicBezTo>
                <a:lnTo>
                  <a:pt x="1602081" y="4296876"/>
                </a:lnTo>
                <a:lnTo>
                  <a:pt x="0" y="3611076"/>
                </a:lnTo>
                <a:cubicBezTo>
                  <a:pt x="11853" y="3588484"/>
                  <a:pt x="2642447" y="98792"/>
                  <a:pt x="2633980" y="889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4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EA1D41-8AE6-9D46-8A52-C4997D17FE10}"/>
              </a:ext>
            </a:extLst>
          </p:cNvPr>
          <p:cNvSpPr txBox="1">
            <a:spLocks/>
          </p:cNvSpPr>
          <p:nvPr userDrawn="1"/>
        </p:nvSpPr>
        <p:spPr>
          <a:xfrm>
            <a:off x="426721" y="1767840"/>
            <a:ext cx="9643872" cy="701675"/>
          </a:xfrm>
          <a:prstGeom prst="rect">
            <a:avLst/>
          </a:prstGeom>
        </p:spPr>
        <p:txBody>
          <a:bodyPr vert="horz" lIns="121893" tIns="60947" rIns="121893" bIns="60947" rtlCol="0" anchor="ctr">
            <a:normAutofit/>
          </a:bodyPr>
          <a:lstStyle>
            <a:lvl1pPr algn="l" defTabSz="6856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33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8896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422B5D-3BAF-6544-8738-AA535FF9071D}"/>
              </a:ext>
            </a:extLst>
          </p:cNvPr>
          <p:cNvSpPr/>
          <p:nvPr userDrawn="1"/>
        </p:nvSpPr>
        <p:spPr>
          <a:xfrm>
            <a:off x="-18628" y="-8890"/>
            <a:ext cx="712694" cy="68624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4205" y="18256"/>
            <a:ext cx="8961458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304205" y="1147744"/>
            <a:ext cx="10887795" cy="5236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743ACF9D-BF13-8544-8750-7C155177D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28B9AE-A9F7-BE47-9AC4-A882E7B842D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287610" y="648843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594A9A9-20B8-424D-BDD7-4B684606C5BF}"/>
              </a:ext>
            </a:extLst>
          </p:cNvPr>
          <p:cNvGrpSpPr/>
          <p:nvPr userDrawn="1"/>
        </p:nvGrpSpPr>
        <p:grpSpPr>
          <a:xfrm>
            <a:off x="-365041" y="2426208"/>
            <a:ext cx="1281303" cy="1281303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AF00F97-D237-3A4C-9F2D-2540E8F5DDA1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BA5132C-6CD2-8E48-8F22-83E9133B62B1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613231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3_Table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662" y="1636066"/>
            <a:ext cx="5489231" cy="4031765"/>
          </a:xfrm>
          <a:prstGeom prst="rect">
            <a:avLst/>
          </a:prstGeom>
        </p:spPr>
      </p:pic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962334" y="1821055"/>
            <a:ext cx="4637929" cy="3615996"/>
          </a:xfrm>
          <a:custGeom>
            <a:avLst/>
            <a:gdLst>
              <a:gd name="connsiteX0" fmla="*/ 0 w 4263279"/>
              <a:gd name="connsiteY0" fmla="*/ 0 h 2396796"/>
              <a:gd name="connsiteX1" fmla="*/ 4263279 w 4263279"/>
              <a:gd name="connsiteY1" fmla="*/ 0 h 2396796"/>
              <a:gd name="connsiteX2" fmla="*/ 4263279 w 4263279"/>
              <a:gd name="connsiteY2" fmla="*/ 2396796 h 2396796"/>
              <a:gd name="connsiteX3" fmla="*/ 0 w 4263279"/>
              <a:gd name="connsiteY3" fmla="*/ 2396796 h 2396796"/>
              <a:gd name="connsiteX4" fmla="*/ 0 w 4263279"/>
              <a:gd name="connsiteY4" fmla="*/ 0 h 2396796"/>
              <a:gd name="connsiteX0" fmla="*/ 0 w 4466479"/>
              <a:gd name="connsiteY0" fmla="*/ 319314 h 2396796"/>
              <a:gd name="connsiteX1" fmla="*/ 4466479 w 4466479"/>
              <a:gd name="connsiteY1" fmla="*/ 0 h 2396796"/>
              <a:gd name="connsiteX2" fmla="*/ 4466479 w 4466479"/>
              <a:gd name="connsiteY2" fmla="*/ 2396796 h 2396796"/>
              <a:gd name="connsiteX3" fmla="*/ 203200 w 4466479"/>
              <a:gd name="connsiteY3" fmla="*/ 2396796 h 2396796"/>
              <a:gd name="connsiteX4" fmla="*/ 0 w 4466479"/>
              <a:gd name="connsiteY4" fmla="*/ 319314 h 2396796"/>
              <a:gd name="connsiteX0" fmla="*/ 0 w 4466479"/>
              <a:gd name="connsiteY0" fmla="*/ 328839 h 2406321"/>
              <a:gd name="connsiteX1" fmla="*/ 4418854 w 4466479"/>
              <a:gd name="connsiteY1" fmla="*/ 0 h 2406321"/>
              <a:gd name="connsiteX2" fmla="*/ 4466479 w 4466479"/>
              <a:gd name="connsiteY2" fmla="*/ 2406321 h 2406321"/>
              <a:gd name="connsiteX3" fmla="*/ 203200 w 4466479"/>
              <a:gd name="connsiteY3" fmla="*/ 2406321 h 2406321"/>
              <a:gd name="connsiteX4" fmla="*/ 0 w 4466479"/>
              <a:gd name="connsiteY4" fmla="*/ 328839 h 2406321"/>
              <a:gd name="connsiteX0" fmla="*/ 0 w 4647454"/>
              <a:gd name="connsiteY0" fmla="*/ 328839 h 3320721"/>
              <a:gd name="connsiteX1" fmla="*/ 4418854 w 4647454"/>
              <a:gd name="connsiteY1" fmla="*/ 0 h 3320721"/>
              <a:gd name="connsiteX2" fmla="*/ 4647454 w 4647454"/>
              <a:gd name="connsiteY2" fmla="*/ 3320721 h 3320721"/>
              <a:gd name="connsiteX3" fmla="*/ 203200 w 4647454"/>
              <a:gd name="connsiteY3" fmla="*/ 2406321 h 3320721"/>
              <a:gd name="connsiteX4" fmla="*/ 0 w 4647454"/>
              <a:gd name="connsiteY4" fmla="*/ 328839 h 3320721"/>
              <a:gd name="connsiteX0" fmla="*/ 0 w 4647454"/>
              <a:gd name="connsiteY0" fmla="*/ 328839 h 3654096"/>
              <a:gd name="connsiteX1" fmla="*/ 4418854 w 4647454"/>
              <a:gd name="connsiteY1" fmla="*/ 0 h 3654096"/>
              <a:gd name="connsiteX2" fmla="*/ 4647454 w 4647454"/>
              <a:gd name="connsiteY2" fmla="*/ 3320721 h 3654096"/>
              <a:gd name="connsiteX3" fmla="*/ 269875 w 4647454"/>
              <a:gd name="connsiteY3" fmla="*/ 3654096 h 3654096"/>
              <a:gd name="connsiteX4" fmla="*/ 0 w 4647454"/>
              <a:gd name="connsiteY4" fmla="*/ 328839 h 3654096"/>
              <a:gd name="connsiteX0" fmla="*/ 0 w 4647454"/>
              <a:gd name="connsiteY0" fmla="*/ 328839 h 3615996"/>
              <a:gd name="connsiteX1" fmla="*/ 4418854 w 4647454"/>
              <a:gd name="connsiteY1" fmla="*/ 0 h 3615996"/>
              <a:gd name="connsiteX2" fmla="*/ 4647454 w 4647454"/>
              <a:gd name="connsiteY2" fmla="*/ 3320721 h 3615996"/>
              <a:gd name="connsiteX3" fmla="*/ 250825 w 4647454"/>
              <a:gd name="connsiteY3" fmla="*/ 3615996 h 3615996"/>
              <a:gd name="connsiteX4" fmla="*/ 0 w 4647454"/>
              <a:gd name="connsiteY4" fmla="*/ 328839 h 3615996"/>
              <a:gd name="connsiteX0" fmla="*/ 0 w 4637929"/>
              <a:gd name="connsiteY0" fmla="*/ 338364 h 3615996"/>
              <a:gd name="connsiteX1" fmla="*/ 4409329 w 4637929"/>
              <a:gd name="connsiteY1" fmla="*/ 0 h 3615996"/>
              <a:gd name="connsiteX2" fmla="*/ 4637929 w 4637929"/>
              <a:gd name="connsiteY2" fmla="*/ 3320721 h 3615996"/>
              <a:gd name="connsiteX3" fmla="*/ 241300 w 4637929"/>
              <a:gd name="connsiteY3" fmla="*/ 3615996 h 3615996"/>
              <a:gd name="connsiteX4" fmla="*/ 0 w 4637929"/>
              <a:gd name="connsiteY4" fmla="*/ 338364 h 361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929" h="3615996">
                <a:moveTo>
                  <a:pt x="0" y="338364"/>
                </a:moveTo>
                <a:lnTo>
                  <a:pt x="4409329" y="0"/>
                </a:lnTo>
                <a:lnTo>
                  <a:pt x="4637929" y="3320721"/>
                </a:lnTo>
                <a:lnTo>
                  <a:pt x="241300" y="3615996"/>
                </a:lnTo>
                <a:lnTo>
                  <a:pt x="0" y="338364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F71922-C96D-2C4A-99A1-616174DF6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8395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254179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254178"/>
            <a:ext cx="12192000" cy="453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041" y="1728440"/>
            <a:ext cx="3333944" cy="1859795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045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o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aser&#10;&#10;Description automatically generated">
            <a:extLst>
              <a:ext uri="{FF2B5EF4-FFF2-40B4-BE49-F238E27FC236}">
                <a16:creationId xmlns:a16="http://schemas.microsoft.com/office/drawing/2014/main" id="{225328BF-ED85-1E4B-991F-0F7B6C7A4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348073" y="478265"/>
            <a:ext cx="11495854" cy="492190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4267" b="0" i="0">
                <a:solidFill>
                  <a:srgbClr val="FFFFFF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Some qoute goes here.</a:t>
            </a:r>
            <a:endParaRPr lang="fr-F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3CA929-6A75-9E48-9B24-21E70BDF74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BFAD68-4E98-6C4B-80C2-8EC1413881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FF471C-3952-2743-B6ED-21C4B3A363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35738" y="55530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Name, 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D359472-CCC8-604A-BF82-65AD5F78DD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5738" y="60102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5878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esti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0F3434-7BF0-BA43-A4E7-19CA0429C5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185F05C-A148-634D-B42E-05E7B081B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50000"/>
          </a:blip>
          <a:srcRect b="49109"/>
          <a:stretch/>
        </p:blipFill>
        <p:spPr>
          <a:xfrm>
            <a:off x="100990" y="2692728"/>
            <a:ext cx="5202530" cy="26475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2" y="1440140"/>
            <a:ext cx="5303521" cy="1283369"/>
          </a:xfrm>
          <a:ln w="6350">
            <a:noFill/>
          </a:ln>
        </p:spPr>
        <p:txBody>
          <a:bodyPr anchor="b">
            <a:noAutofit/>
          </a:bodyPr>
          <a:lstStyle>
            <a:lvl1pPr algn="ctr"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Ques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E0A2B3-DE03-1843-923F-1520B36F1C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559B65-AFEC-7F4C-BAF6-DDD87E760F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436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Thank-you-Q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unset in the background&#10;&#10;Description automatically generated">
            <a:extLst>
              <a:ext uri="{FF2B5EF4-FFF2-40B4-BE49-F238E27FC236}">
                <a16:creationId xmlns:a16="http://schemas.microsoft.com/office/drawing/2014/main" id="{01838BE1-6D8E-D743-B5A2-5BD9E5CC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87666" cy="6853556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488241" y="1709495"/>
            <a:ext cx="3164360" cy="79102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4267" b="1" i="0">
                <a:solidFill>
                  <a:schemeClr val="bg1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Thank You!</a:t>
            </a:r>
            <a:endParaRPr lang="fr-FR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4182" y="2940198"/>
            <a:ext cx="5805145" cy="2566521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buFont typeface="Wingdings" charset="2"/>
              <a:buNone/>
              <a:tabLst>
                <a:tab pos="2747365" algn="l"/>
              </a:tabLst>
              <a:defRPr sz="1867" b="0" i="0" baseline="0">
                <a:solidFill>
                  <a:schemeClr val="tx1"/>
                </a:solidFill>
                <a:latin typeface="+mj-lt"/>
                <a:cs typeface="Calibri Regular" charset="0"/>
              </a:defRPr>
            </a:lvl1pPr>
            <a:lvl2pPr marL="482588" indent="0">
              <a:buClr>
                <a:schemeClr val="tx1"/>
              </a:buClr>
              <a:buNone/>
              <a:defRPr sz="1867" b="0" i="0">
                <a:solidFill>
                  <a:schemeClr val="bg2"/>
                </a:solidFill>
                <a:latin typeface="+mj-lt"/>
                <a:cs typeface="Frutiger LT 45 Light"/>
              </a:defRPr>
            </a:lvl2pPr>
            <a:lvl3pPr marL="960943" indent="-361942">
              <a:buFont typeface="Arial" pitchFamily="34" charset="0"/>
              <a:buChar char="•"/>
              <a:defRPr sz="2133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3pPr>
            <a:lvl4pPr marL="1312301" indent="-353475">
              <a:buFont typeface="Arial" pitchFamily="34" charset="0"/>
              <a:buChar char="•"/>
              <a:tabLst/>
              <a:defRPr sz="1867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4pPr>
          </a:lstStyle>
          <a:p>
            <a:pPr lvl="0"/>
            <a:r>
              <a:rPr lang="fr-CH" dirty="0"/>
              <a:t>Put contact information here: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466BFD-0F21-6848-95ED-5688B35CD1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8241" y="2940198"/>
            <a:ext cx="2546691" cy="25665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E914B2-0716-0640-9454-DA3CA45A8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CC8E6A-7031-B143-AB79-1F1DE78D9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82B3E8E-ECAC-DE44-83A2-569EA1B0A1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241" y="503103"/>
            <a:ext cx="1976427" cy="49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3093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8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839555" y="1168400"/>
            <a:ext cx="11176001" cy="500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965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6" name="Groupe 94">
            <a:extLst>
              <a:ext uri="{FF2B5EF4-FFF2-40B4-BE49-F238E27FC236}">
                <a16:creationId xmlns:a16="http://schemas.microsoft.com/office/drawing/2014/main" id="{5CB17DFD-8D8B-9141-AF4E-88E5168B7D2F}"/>
              </a:ext>
            </a:extLst>
          </p:cNvPr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8" name="ZoneTexte 17">
              <a:extLst>
                <a:ext uri="{FF2B5EF4-FFF2-40B4-BE49-F238E27FC236}">
                  <a16:creationId xmlns:a16="http://schemas.microsoft.com/office/drawing/2014/main" id="{6E4DC36E-701D-9147-A68E-72FF547AF1E2}"/>
                </a:ext>
              </a:extLst>
            </p:cNvPr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0032859-3AF9-854F-B19F-85D96D0AD30C}"/>
                </a:ext>
              </a:extLst>
            </p:cNvPr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" name="Groupe 95">
            <a:extLst>
              <a:ext uri="{FF2B5EF4-FFF2-40B4-BE49-F238E27FC236}">
                <a16:creationId xmlns:a16="http://schemas.microsoft.com/office/drawing/2014/main" id="{B8627CBF-3443-2B49-BA31-196A0F9EC799}"/>
              </a:ext>
            </a:extLst>
          </p:cNvPr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11" name="ZoneTexte 20">
              <a:extLst>
                <a:ext uri="{FF2B5EF4-FFF2-40B4-BE49-F238E27FC236}">
                  <a16:creationId xmlns:a16="http://schemas.microsoft.com/office/drawing/2014/main" id="{358C8087-B7F4-F143-BD5F-7AC35E7A036C}"/>
                </a:ext>
              </a:extLst>
            </p:cNvPr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4470AC4-C26D-944E-A438-652B32438404}"/>
                </a:ext>
              </a:extLst>
            </p:cNvPr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ZoneTexte 22">
              <a:extLst>
                <a:ext uri="{FF2B5EF4-FFF2-40B4-BE49-F238E27FC236}">
                  <a16:creationId xmlns:a16="http://schemas.microsoft.com/office/drawing/2014/main" id="{9E7E3E2C-D632-6141-A941-D6A33A6DAFF4}"/>
                </a:ext>
              </a:extLst>
            </p:cNvPr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DEDC94C-29B8-5546-B157-E89A1ACD7FCA}"/>
                </a:ext>
              </a:extLst>
            </p:cNvPr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1559B-C240-6343-881D-718E502020E4}"/>
              </a:ext>
            </a:extLst>
          </p:cNvPr>
          <p:cNvSpPr/>
          <p:nvPr/>
        </p:nvSpPr>
        <p:spPr bwMode="auto">
          <a:xfrm>
            <a:off x="7152120" y="2755200"/>
            <a:ext cx="2400000" cy="14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3C1A21-7075-7545-99F8-5A90AB4D181E}"/>
              </a:ext>
            </a:extLst>
          </p:cNvPr>
          <p:cNvSpPr/>
          <p:nvPr/>
        </p:nvSpPr>
        <p:spPr bwMode="auto">
          <a:xfrm>
            <a:off x="9554907" y="2757309"/>
            <a:ext cx="2400000" cy="18908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8" name="ZoneTexte 27">
            <a:extLst>
              <a:ext uri="{FF2B5EF4-FFF2-40B4-BE49-F238E27FC236}">
                <a16:creationId xmlns:a16="http://schemas.microsoft.com/office/drawing/2014/main" id="{437FB89A-EBDE-014D-9C0E-A69283D55702}"/>
              </a:ext>
            </a:extLst>
          </p:cNvPr>
          <p:cNvSpPr txBox="1"/>
          <p:nvPr/>
        </p:nvSpPr>
        <p:spPr>
          <a:xfrm>
            <a:off x="9554907" y="2471284"/>
            <a:ext cx="2400000" cy="288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0033CC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on plan</a:t>
            </a:r>
          </a:p>
        </p:txBody>
      </p:sp>
      <p:sp>
        <p:nvSpPr>
          <p:cNvPr id="19" name="ZoneTexte 28">
            <a:extLst>
              <a:ext uri="{FF2B5EF4-FFF2-40B4-BE49-F238E27FC236}">
                <a16:creationId xmlns:a16="http://schemas.microsoft.com/office/drawing/2014/main" id="{D63B2126-AB8B-F74A-B2C1-43F895F4CEC8}"/>
              </a:ext>
            </a:extLst>
          </p:cNvPr>
          <p:cNvSpPr txBox="1"/>
          <p:nvPr/>
        </p:nvSpPr>
        <p:spPr>
          <a:xfrm>
            <a:off x="7152119" y="2471284"/>
            <a:ext cx="2400000" cy="288000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s/Issues</a:t>
            </a:r>
          </a:p>
        </p:txBody>
      </p:sp>
      <p:grpSp>
        <p:nvGrpSpPr>
          <p:cNvPr id="21" name="Groupe 105">
            <a:extLst>
              <a:ext uri="{FF2B5EF4-FFF2-40B4-BE49-F238E27FC236}">
                <a16:creationId xmlns:a16="http://schemas.microsoft.com/office/drawing/2014/main" id="{71ED83B3-4FF9-7D48-B96D-DA45E85AF0FA}"/>
              </a:ext>
            </a:extLst>
          </p:cNvPr>
          <p:cNvGrpSpPr/>
          <p:nvPr/>
        </p:nvGrpSpPr>
        <p:grpSpPr>
          <a:xfrm>
            <a:off x="7139549" y="856291"/>
            <a:ext cx="2864065" cy="1539820"/>
            <a:chOff x="4226660" y="-888444"/>
            <a:chExt cx="5022115" cy="80940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09A9A1F-6A38-2C45-B9A8-3C1A078183CC}"/>
                </a:ext>
              </a:extLst>
            </p:cNvPr>
            <p:cNvSpPr/>
            <p:nvPr/>
          </p:nvSpPr>
          <p:spPr bwMode="auto">
            <a:xfrm>
              <a:off x="4226660" y="-738917"/>
              <a:ext cx="5022113" cy="219995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4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Budget</a:t>
              </a:r>
            </a:p>
          </p:txBody>
        </p:sp>
        <p:sp>
          <p:nvSpPr>
            <p:cNvPr id="24" name="ZoneTexte 37">
              <a:extLst>
                <a:ext uri="{FF2B5EF4-FFF2-40B4-BE49-F238E27FC236}">
                  <a16:creationId xmlns:a16="http://schemas.microsoft.com/office/drawing/2014/main" id="{12571410-93A7-A24C-903A-C33C835DECCA}"/>
                </a:ext>
              </a:extLst>
            </p:cNvPr>
            <p:cNvSpPr txBox="1"/>
            <p:nvPr/>
          </p:nvSpPr>
          <p:spPr>
            <a:xfrm>
              <a:off x="7689412" y="-888444"/>
              <a:ext cx="1559363" cy="15138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B2D3E8-6164-0445-8B92-B97F6AC9B4A3}"/>
                </a:ext>
              </a:extLst>
            </p:cNvPr>
            <p:cNvSpPr/>
            <p:nvPr/>
          </p:nvSpPr>
          <p:spPr bwMode="auto">
            <a:xfrm>
              <a:off x="4226660" y="-519529"/>
              <a:ext cx="5022113" cy="21999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182558" algn="l"/>
                  <a:tab pos="473063" algn="l"/>
                  <a:tab pos="1652547" algn="l"/>
                </a:tabLst>
                <a:defRPr/>
              </a:pPr>
              <a:r>
                <a:rPr lang="nl-NL" sz="1300" kern="1200">
                  <a:solidFill>
                    <a:srgbClr val="3E282B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itchFamily="2" charset="2"/>
                </a:rPr>
                <a:t>Plannin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344C-638A-4644-ABE8-0DDE5EDAE4B6}"/>
                </a:ext>
              </a:extLst>
            </p:cNvPr>
            <p:cNvSpPr/>
            <p:nvPr/>
          </p:nvSpPr>
          <p:spPr bwMode="auto">
            <a:xfrm>
              <a:off x="4226660" y="-299037"/>
              <a:ext cx="5022113" cy="219996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Scope</a:t>
              </a:r>
            </a:p>
          </p:txBody>
        </p:sp>
        <p:sp>
          <p:nvSpPr>
            <p:cNvPr id="27" name="ZoneTexte 40">
              <a:extLst>
                <a:ext uri="{FF2B5EF4-FFF2-40B4-BE49-F238E27FC236}">
                  <a16:creationId xmlns:a16="http://schemas.microsoft.com/office/drawing/2014/main" id="{237AE9FE-279D-6346-BD17-8B9AC8CE08C9}"/>
                </a:ext>
              </a:extLst>
            </p:cNvPr>
            <p:cNvSpPr txBox="1"/>
            <p:nvPr/>
          </p:nvSpPr>
          <p:spPr>
            <a:xfrm>
              <a:off x="4226660" y="-888444"/>
              <a:ext cx="3462751" cy="15138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ject metrics</a:t>
              </a:r>
            </a:p>
          </p:txBody>
        </p:sp>
      </p:grpSp>
      <p:cxnSp>
        <p:nvCxnSpPr>
          <p:cNvPr id="22" name="Connecteur droit 31">
            <a:extLst>
              <a:ext uri="{FF2B5EF4-FFF2-40B4-BE49-F238E27FC236}">
                <a16:creationId xmlns:a16="http://schemas.microsoft.com/office/drawing/2014/main" id="{709CDC95-81EB-5F40-B08A-2218AD6D4D25}"/>
              </a:ext>
            </a:extLst>
          </p:cNvPr>
          <p:cNvCxnSpPr/>
          <p:nvPr/>
        </p:nvCxnSpPr>
        <p:spPr>
          <a:xfrm>
            <a:off x="9114288" y="1168138"/>
            <a:ext cx="1" cy="117959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41">
            <a:extLst>
              <a:ext uri="{FF2B5EF4-FFF2-40B4-BE49-F238E27FC236}">
                <a16:creationId xmlns:a16="http://schemas.microsoft.com/office/drawing/2014/main" id="{00F0FEE8-EC95-6C4C-8DAC-822A087737DC}"/>
              </a:ext>
            </a:extLst>
          </p:cNvPr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sp>
        <p:nvSpPr>
          <p:cNvPr id="30" name="ZoneTexte 47">
            <a:extLst>
              <a:ext uri="{FF2B5EF4-FFF2-40B4-BE49-F238E27FC236}">
                <a16:creationId xmlns:a16="http://schemas.microsoft.com/office/drawing/2014/main" id="{68161274-DAF8-274A-8070-736BDF370522}"/>
              </a:ext>
            </a:extLst>
          </p:cNvPr>
          <p:cNvSpPr txBox="1"/>
          <p:nvPr/>
        </p:nvSpPr>
        <p:spPr>
          <a:xfrm>
            <a:off x="10128453" y="856292"/>
            <a:ext cx="1824201" cy="28867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Statu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BD71A6-0B16-7645-B8F7-C27429B42F01}"/>
              </a:ext>
            </a:extLst>
          </p:cNvPr>
          <p:cNvSpPr/>
          <p:nvPr/>
        </p:nvSpPr>
        <p:spPr bwMode="auto">
          <a:xfrm>
            <a:off x="10128455" y="1138366"/>
            <a:ext cx="1824000" cy="124799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2" name="Connecteur droit 49">
            <a:extLst>
              <a:ext uri="{FF2B5EF4-FFF2-40B4-BE49-F238E27FC236}">
                <a16:creationId xmlns:a16="http://schemas.microsoft.com/office/drawing/2014/main" id="{8C3BEDC9-61F9-5446-A891-DBD4E7E3C858}"/>
              </a:ext>
            </a:extLst>
          </p:cNvPr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4">
            <a:extLst>
              <a:ext uri="{FF2B5EF4-FFF2-40B4-BE49-F238E27FC236}">
                <a16:creationId xmlns:a16="http://schemas.microsoft.com/office/drawing/2014/main" id="{EABF5CA2-9084-454A-8775-2C850DE57F0D}"/>
              </a:ext>
            </a:extLst>
          </p:cNvPr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4" name="ZoneTexte 35">
            <a:extLst>
              <a:ext uri="{FF2B5EF4-FFF2-40B4-BE49-F238E27FC236}">
                <a16:creationId xmlns:a16="http://schemas.microsoft.com/office/drawing/2014/main" id="{23905F17-3A70-F14D-A955-272D3FED6A4F}"/>
              </a:ext>
            </a:extLst>
          </p:cNvPr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5" name="ZoneTexte 42">
            <a:extLst>
              <a:ext uri="{FF2B5EF4-FFF2-40B4-BE49-F238E27FC236}">
                <a16:creationId xmlns:a16="http://schemas.microsoft.com/office/drawing/2014/main" id="{FD938F6A-F287-8B4F-A7DB-5B6C97864164}"/>
              </a:ext>
            </a:extLst>
          </p:cNvPr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89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laser&#10;&#10;Description automatically generated">
            <a:extLst>
              <a:ext uri="{FF2B5EF4-FFF2-40B4-BE49-F238E27FC236}">
                <a16:creationId xmlns:a16="http://schemas.microsoft.com/office/drawing/2014/main" id="{F31B552C-21A9-484C-BB92-40D8374055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810A2B6-9F7E-084F-A4D7-F1688672C30C}"/>
              </a:ext>
            </a:extLst>
          </p:cNvPr>
          <p:cNvGrpSpPr/>
          <p:nvPr userDrawn="1"/>
        </p:nvGrpSpPr>
        <p:grpSpPr>
          <a:xfrm>
            <a:off x="1810757" y="1533830"/>
            <a:ext cx="4960973" cy="4960973"/>
            <a:chOff x="625387" y="306051"/>
            <a:chExt cx="521442" cy="521442"/>
          </a:xfrm>
          <a:solidFill>
            <a:srgbClr val="FFFFFF">
              <a:alpha val="11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44F8206-CBFD-9041-83F0-2F7E6CDEC0C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25906098-CFAC-B243-8A16-1806BF36175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8356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384F66B-93F6-694C-ACD2-06495EB225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00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JECT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94"/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18" name="ZoneTexte 17"/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4" name="Groupe 95"/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21" name="ZoneTexte 20"/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" name="Groupe 98"/>
          <p:cNvGrpSpPr/>
          <p:nvPr userDrawn="1"/>
        </p:nvGrpSpPr>
        <p:grpSpPr>
          <a:xfrm>
            <a:off x="7152119" y="2471284"/>
            <a:ext cx="4802788" cy="2176917"/>
            <a:chOff x="4250685" y="-946195"/>
            <a:chExt cx="4827338" cy="1632688"/>
          </a:xfrm>
        </p:grpSpPr>
        <p:sp>
          <p:nvSpPr>
            <p:cNvPr id="26" name="Rectangle 25"/>
            <p:cNvSpPr/>
            <p:nvPr/>
          </p:nvSpPr>
          <p:spPr bwMode="auto">
            <a:xfrm>
              <a:off x="4250686" y="-733258"/>
              <a:ext cx="2412268" cy="10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6665755" y="-731676"/>
              <a:ext cx="2412268" cy="14181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8" name="ZoneTexte 27"/>
            <p:cNvSpPr txBox="1"/>
            <p:nvPr/>
          </p:nvSpPr>
          <p:spPr>
            <a:xfrm>
              <a:off x="6665755" y="-946195"/>
              <a:ext cx="2412268" cy="21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on plan</a:t>
              </a: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4250685" y="-946195"/>
              <a:ext cx="2412268" cy="2160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sks/Issues</a:t>
              </a:r>
            </a:p>
          </p:txBody>
        </p:sp>
      </p:grpSp>
      <p:grpSp>
        <p:nvGrpSpPr>
          <p:cNvPr id="6" name="Groupe 119"/>
          <p:cNvGrpSpPr/>
          <p:nvPr userDrawn="1"/>
        </p:nvGrpSpPr>
        <p:grpSpPr>
          <a:xfrm>
            <a:off x="7139549" y="856291"/>
            <a:ext cx="2864065" cy="1539820"/>
            <a:chOff x="5151437" y="-858151"/>
            <a:chExt cx="2592450" cy="810249"/>
          </a:xfrm>
        </p:grpSpPr>
        <p:grpSp>
          <p:nvGrpSpPr>
            <p:cNvPr id="7" name="Groupe 105"/>
            <p:cNvGrpSpPr/>
            <p:nvPr/>
          </p:nvGrpSpPr>
          <p:grpSpPr>
            <a:xfrm>
              <a:off x="5151437" y="-858151"/>
              <a:ext cx="2592450" cy="810249"/>
              <a:chOff x="4226660" y="-888444"/>
              <a:chExt cx="5022115" cy="809403"/>
            </a:xfrm>
          </p:grpSpPr>
          <p:sp>
            <p:nvSpPr>
              <p:cNvPr id="37" name="Rectangle 36"/>
              <p:cNvSpPr/>
              <p:nvPr/>
            </p:nvSpPr>
            <p:spPr bwMode="auto">
              <a:xfrm>
                <a:off x="4226660" y="-738917"/>
                <a:ext cx="5022113" cy="219995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4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Budget</a:t>
                </a:r>
              </a:p>
            </p:txBody>
          </p:sp>
          <p:sp>
            <p:nvSpPr>
              <p:cNvPr id="38" name="ZoneTexte 37"/>
              <p:cNvSpPr txBox="1"/>
              <p:nvPr/>
            </p:nvSpPr>
            <p:spPr>
              <a:xfrm>
                <a:off x="7689412" y="-888444"/>
                <a:ext cx="1559363" cy="151387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33CC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atus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4226660" y="-519529"/>
                <a:ext cx="5022113" cy="21999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182558" algn="l"/>
                    <a:tab pos="473063" algn="l"/>
                    <a:tab pos="1652547" algn="l"/>
                  </a:tabLst>
                  <a:defRPr/>
                </a:pPr>
                <a:r>
                  <a:rPr lang="nl-NL" sz="1300" kern="1200">
                    <a:solidFill>
                      <a:srgbClr val="3E282B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Wingdings" pitchFamily="2" charset="2"/>
                  </a:rPr>
                  <a:t>Planning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>
                <a:off x="4226660" y="-299037"/>
                <a:ext cx="5022113" cy="219996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5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Scope</a:t>
                </a:r>
              </a:p>
            </p:txBody>
          </p:sp>
          <p:sp>
            <p:nvSpPr>
              <p:cNvPr id="41" name="ZoneTexte 40"/>
              <p:cNvSpPr txBox="1"/>
              <p:nvPr/>
            </p:nvSpPr>
            <p:spPr>
              <a:xfrm>
                <a:off x="4226660" y="-888444"/>
                <a:ext cx="3462751" cy="151387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 w="9525">
                <a:solidFill>
                  <a:schemeClr val="accent1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ject metrics</a:t>
                </a:r>
              </a:p>
            </p:txBody>
          </p:sp>
        </p:grpSp>
        <p:cxnSp>
          <p:nvCxnSpPr>
            <p:cNvPr id="32" name="Connecteur droit 31"/>
            <p:cNvCxnSpPr/>
            <p:nvPr/>
          </p:nvCxnSpPr>
          <p:spPr>
            <a:xfrm>
              <a:off x="6938901" y="-694058"/>
              <a:ext cx="1" cy="620697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ZoneTexte 41"/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accent1"/>
            </a:solidFill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grpSp>
        <p:nvGrpSpPr>
          <p:cNvPr id="8" name="Groupe 101"/>
          <p:cNvGrpSpPr/>
          <p:nvPr/>
        </p:nvGrpSpPr>
        <p:grpSpPr>
          <a:xfrm>
            <a:off x="10128453" y="856292"/>
            <a:ext cx="1824201" cy="1530073"/>
            <a:chOff x="4226667" y="-888444"/>
            <a:chExt cx="4824533" cy="1528863"/>
          </a:xfrm>
        </p:grpSpPr>
        <p:sp>
          <p:nvSpPr>
            <p:cNvPr id="48" name="ZoneTexte 47"/>
            <p:cNvSpPr txBox="1"/>
            <p:nvPr/>
          </p:nvSpPr>
          <p:spPr>
            <a:xfrm>
              <a:off x="4226667" y="-888444"/>
              <a:ext cx="4824533" cy="28844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verall Status</a:t>
              </a: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4226671" y="-606593"/>
              <a:ext cx="4824001" cy="12470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50" name="Connecteur droit 49"/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Image 3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76195"/>
            <a:ext cx="755507" cy="448583"/>
          </a:xfrm>
          <a:prstGeom prst="rect">
            <a:avLst/>
          </a:prstGeom>
        </p:spPr>
      </p:pic>
      <p:sp>
        <p:nvSpPr>
          <p:cNvPr id="35" name="ZoneTexte 34"/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6" name="ZoneTexte 35"/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43" name="ZoneTexte 42"/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re 9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312401" cy="434975"/>
          </a:xfrm>
        </p:spPr>
        <p:txBody>
          <a:bodyPr anchor="t">
            <a:normAutofit/>
          </a:bodyPr>
          <a:lstStyle>
            <a:lvl1pPr marL="0" algn="l" defTabSz="914377" rtl="0" eaLnBrk="1" latinLnBrk="0" hangingPunct="1">
              <a:lnSpc>
                <a:spcPct val="100000"/>
              </a:lnSpc>
              <a:defRPr lang="en-US" sz="24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256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08769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4943" y="380221"/>
            <a:ext cx="5346670" cy="631583"/>
          </a:xfrm>
        </p:spPr>
        <p:txBody>
          <a:bodyPr lIns="0" tIns="0" rIns="0" bIns="0"/>
          <a:lstStyle>
            <a:lvl1pPr>
              <a:defRPr sz="4104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09-Oct-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9625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2335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A6D7070B-77A4-5647-89EE-A6B0C5511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036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8F354F3-7782-2B43-B971-498DF7D95F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236036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6D8DE6B7-7B97-FB4E-9EA5-7691EF8B61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6036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178062ED-3069-484F-902C-352DCA4B76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36036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9D873DA8-8A08-A946-BB4C-6115648026B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6036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296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F835F6-C546-0644-A5A8-2B184782E1FD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E147E1F-836C-1C45-90D7-78CB347DA3DE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1E7F59D-DB11-AF44-A0F0-59727C6DD7C5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6137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F3EF66-AF5B-C34E-BB1F-B5556314A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90DB30-A338-4347-98D5-C7729C28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6445" y="1223319"/>
            <a:ext cx="11839111" cy="49536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78B723-F6FA-494D-8A78-D3A4AE95DB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44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© Quadi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216DB7-CDB4-934C-849A-4B9C1BAA0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235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EA26C5-9F45-034B-8EC4-078E2CDAF82E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500790" y="222757"/>
            <a:ext cx="1514766" cy="378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4C4DFD2-2448-AE4D-AA96-563ADB77250E}"/>
              </a:ext>
            </a:extLst>
          </p:cNvPr>
          <p:cNvSpPr/>
          <p:nvPr userDrawn="1"/>
        </p:nvSpPr>
        <p:spPr>
          <a:xfrm>
            <a:off x="0" y="6798834"/>
            <a:ext cx="12192000" cy="80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923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51" r:id="rId3"/>
    <p:sldLayoutId id="2147484105" r:id="rId4"/>
    <p:sldLayoutId id="2147484106" r:id="rId5"/>
    <p:sldLayoutId id="2147484107" r:id="rId6"/>
    <p:sldLayoutId id="2147484164" r:id="rId7"/>
    <p:sldLayoutId id="2147484165" r:id="rId8"/>
    <p:sldLayoutId id="2147484152" r:id="rId9"/>
    <p:sldLayoutId id="2147484153" r:id="rId10"/>
    <p:sldLayoutId id="2147484155" r:id="rId11"/>
    <p:sldLayoutId id="2147484149" r:id="rId12"/>
    <p:sldLayoutId id="2147484160" r:id="rId13"/>
    <p:sldLayoutId id="2147484159" r:id="rId14"/>
    <p:sldLayoutId id="2147484158" r:id="rId15"/>
    <p:sldLayoutId id="2147484162" r:id="rId16"/>
    <p:sldLayoutId id="2147484108" r:id="rId17"/>
    <p:sldLayoutId id="2147484163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  <p:sldLayoutId id="2147484116" r:id="rId26"/>
    <p:sldLayoutId id="2147484117" r:id="rId27"/>
    <p:sldLayoutId id="2147484118" r:id="rId28"/>
    <p:sldLayoutId id="2147484119" r:id="rId29"/>
    <p:sldLayoutId id="2147484120" r:id="rId30"/>
    <p:sldLayoutId id="2147484121" r:id="rId31"/>
    <p:sldLayoutId id="2147484122" r:id="rId32"/>
    <p:sldLayoutId id="2147484123" r:id="rId33"/>
    <p:sldLayoutId id="2147484124" r:id="rId34"/>
    <p:sldLayoutId id="2147484125" r:id="rId35"/>
    <p:sldLayoutId id="2147484126" r:id="rId36"/>
    <p:sldLayoutId id="2147484127" r:id="rId37"/>
    <p:sldLayoutId id="2147484128" r:id="rId38"/>
    <p:sldLayoutId id="2147484129" r:id="rId39"/>
    <p:sldLayoutId id="2147484130" r:id="rId40"/>
    <p:sldLayoutId id="2147484131" r:id="rId41"/>
    <p:sldLayoutId id="2147484132" r:id="rId42"/>
    <p:sldLayoutId id="2147484133" r:id="rId43"/>
    <p:sldLayoutId id="2147484134" r:id="rId44"/>
    <p:sldLayoutId id="2147484135" r:id="rId45"/>
    <p:sldLayoutId id="2147484136" r:id="rId46"/>
    <p:sldLayoutId id="2147484137" r:id="rId47"/>
    <p:sldLayoutId id="2147484139" r:id="rId48"/>
    <p:sldLayoutId id="2147484140" r:id="rId49"/>
    <p:sldLayoutId id="2147484141" r:id="rId50"/>
    <p:sldLayoutId id="2147484143" r:id="rId51"/>
    <p:sldLayoutId id="2147484144" r:id="rId52"/>
    <p:sldLayoutId id="2147484145" r:id="rId53"/>
    <p:sldLayoutId id="2147484146" r:id="rId54"/>
    <p:sldLayoutId id="2147484147" r:id="rId55"/>
    <p:sldLayoutId id="2147484167" r:id="rId56"/>
    <p:sldLayoutId id="2147484148" r:id="rId57"/>
    <p:sldLayoutId id="2147484161" r:id="rId58"/>
    <p:sldLayoutId id="2147484166" r:id="rId59"/>
    <p:sldLayoutId id="2147484168" r:id="rId6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0.xml"/><Relationship Id="rId7" Type="http://schemas.openxmlformats.org/officeDocument/2006/relationships/image" Target="../media/image19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kubernetes/minikube" TargetMode="Externa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kd.io/" TargetMode="External"/><Relationship Id="rId2" Type="http://schemas.openxmlformats.org/officeDocument/2006/relationships/hyperlink" Target="https://www.okd.io/minishift/" TargetMode="Externa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" TargetMode="Externa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-samples/tree/master/memcached-operator" TargetMode="Externa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@adilsonbna/installing-a-highly-available-openshift-origin-cluster-f3493cbdb644" TargetMode="External"/><Relationship Id="rId2" Type="http://schemas.openxmlformats.org/officeDocument/2006/relationships/hyperlink" Target="https://kubernetes.io/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4.xml"/><Relationship Id="rId7" Type="http://schemas.openxmlformats.org/officeDocument/2006/relationships/image" Target="../media/image19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6.xml"/><Relationship Id="rId7" Type="http://schemas.openxmlformats.org/officeDocument/2006/relationships/image" Target="../media/image1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8.xml"/><Relationship Id="rId7" Type="http://schemas.openxmlformats.org/officeDocument/2006/relationships/image" Target="../media/image19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7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>
            <a:extLst>
              <a:ext uri="{FF2B5EF4-FFF2-40B4-BE49-F238E27FC236}">
                <a16:creationId xmlns:a16="http://schemas.microsoft.com/office/drawing/2014/main" id="{9C1A432B-5F0A-644D-B08C-1C788C3CE8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480" y="5757001"/>
            <a:ext cx="11214247" cy="483850"/>
          </a:xfrm>
        </p:spPr>
        <p:txBody>
          <a:bodyPr/>
          <a:lstStyle/>
          <a:p>
            <a:r>
              <a:rPr lang="en-US" sz="2400" dirty="0" err="1">
                <a:solidFill>
                  <a:schemeClr val="tx1"/>
                </a:solidFill>
              </a:rPr>
              <a:t>Barcamp</a:t>
            </a:r>
            <a:r>
              <a:rPr lang="en-US" sz="2400" dirty="0">
                <a:solidFill>
                  <a:schemeClr val="tx1"/>
                </a:solidFill>
              </a:rPr>
              <a:t>, UHK, 12.10.2019</a:t>
            </a:r>
            <a:endParaRPr lang="fr-FR" sz="2400" dirty="0">
              <a:solidFill>
                <a:schemeClr val="tx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5118CEA-4684-6D4C-A518-7D62715EFD4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/>
          <a:srcRect l="9667" t="-854" b="213"/>
          <a:stretch/>
        </p:blipFill>
        <p:spPr>
          <a:xfrm>
            <a:off x="0" y="1155031"/>
            <a:ext cx="12192000" cy="388246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416AFE-51A9-744D-9AF9-58B8BA1E2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540" y="1586754"/>
            <a:ext cx="5036386" cy="3153688"/>
          </a:xfrm>
        </p:spPr>
        <p:txBody>
          <a:bodyPr/>
          <a:lstStyle/>
          <a:p>
            <a:pPr algn="l"/>
            <a:r>
              <a:rPr lang="en-US" sz="5400" dirty="0"/>
              <a:t>Enterprise </a:t>
            </a:r>
            <a:br>
              <a:rPr lang="en-US" sz="5400" dirty="0"/>
            </a:br>
            <a:r>
              <a:rPr lang="en-US" sz="5400" dirty="0"/>
              <a:t>Grade Deployment</a:t>
            </a:r>
            <a:endParaRPr lang="en-US" sz="5400" dirty="0">
              <a:latin typeface="+mn-lt"/>
            </a:endParaRPr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51AB8ABA-A4FC-E64C-B6EB-5C0BF98C8632}"/>
              </a:ext>
            </a:extLst>
          </p:cNvPr>
          <p:cNvSpPr txBox="1">
            <a:spLocks/>
          </p:cNvSpPr>
          <p:nvPr/>
        </p:nvSpPr>
        <p:spPr>
          <a:xfrm>
            <a:off x="538480" y="5219119"/>
            <a:ext cx="11214247" cy="483850"/>
          </a:xfrm>
          <a:prstGeom prst="rect">
            <a:avLst/>
          </a:prstGeom>
          <a:ln w="6350"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>
                <a:solidFill>
                  <a:schemeClr val="tx1"/>
                </a:solidFill>
              </a:rPr>
              <a:t>Martin </a:t>
            </a:r>
            <a:r>
              <a:rPr lang="fr-FR" sz="2400" dirty="0" err="1">
                <a:solidFill>
                  <a:schemeClr val="tx1"/>
                </a:solidFill>
              </a:rPr>
              <a:t>Nov</a:t>
            </a:r>
            <a:r>
              <a:rPr lang="cs-CZ" sz="2400" dirty="0" err="1">
                <a:solidFill>
                  <a:schemeClr val="tx1"/>
                </a:solidFill>
              </a:rPr>
              <a:t>ák</a:t>
            </a:r>
            <a:r>
              <a:rPr lang="fr-FR" sz="2400" dirty="0">
                <a:solidFill>
                  <a:schemeClr val="tx1"/>
                </a:solidFill>
              </a:rPr>
              <a:t> I </a:t>
            </a:r>
            <a:r>
              <a:rPr lang="cs-CZ" sz="2400" dirty="0" err="1">
                <a:solidFill>
                  <a:schemeClr val="tx1"/>
                </a:solidFill>
              </a:rPr>
              <a:t>Product</a:t>
            </a:r>
            <a:r>
              <a:rPr lang="cs-CZ" sz="2400" dirty="0">
                <a:solidFill>
                  <a:schemeClr val="tx1"/>
                </a:solidFill>
              </a:rPr>
              <a:t> </a:t>
            </a:r>
            <a:r>
              <a:rPr lang="cs-CZ" sz="2400" dirty="0" err="1">
                <a:solidFill>
                  <a:schemeClr val="tx1"/>
                </a:solidFill>
              </a:rPr>
              <a:t>Architect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536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CF6116-EF17-4C19-872D-6883A8AF7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8A2A60-A666-453E-8478-9393E4946D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Run and control more containers simultaneously</a:t>
            </a:r>
          </a:p>
          <a:p>
            <a:endParaRPr lang="en-US" sz="2800" dirty="0"/>
          </a:p>
          <a:p>
            <a:r>
              <a:rPr lang="en-US" sz="2800" dirty="0"/>
              <a:t>Maintenance of application cluster state</a:t>
            </a:r>
          </a:p>
          <a:p>
            <a:endParaRPr lang="en-US" sz="2800" dirty="0"/>
          </a:p>
          <a:p>
            <a:r>
              <a:rPr lang="en-US" sz="2800" dirty="0"/>
              <a:t>Examples</a:t>
            </a:r>
          </a:p>
          <a:p>
            <a:pPr lvl="1"/>
            <a:r>
              <a:rPr lang="en-US" sz="2800" dirty="0"/>
              <a:t>Docker Compose</a:t>
            </a:r>
          </a:p>
          <a:p>
            <a:pPr lvl="1"/>
            <a:r>
              <a:rPr lang="en-US" sz="2800" dirty="0"/>
              <a:t>Docker Swarm</a:t>
            </a:r>
          </a:p>
          <a:p>
            <a:pPr lvl="1"/>
            <a:r>
              <a:rPr lang="en-US" sz="2800" dirty="0"/>
              <a:t>Kubernetes/OpenShift</a:t>
            </a:r>
          </a:p>
        </p:txBody>
      </p:sp>
    </p:spTree>
    <p:extLst>
      <p:ext uri="{BB962C8B-B14F-4D97-AF65-F5344CB8AC3E}">
        <p14:creationId xmlns:p14="http://schemas.microsoft.com/office/powerpoint/2010/main" val="4247465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7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(K8s)</a:t>
            </a:r>
          </a:p>
        </p:txBody>
      </p:sp>
      <p:pic>
        <p:nvPicPr>
          <p:cNvPr id="5" name="Picture Placeholder 4" descr="A picture containing room&#10;&#10;Description automatically generated">
            <a:extLst>
              <a:ext uri="{FF2B5EF4-FFF2-40B4-BE49-F238E27FC236}">
                <a16:creationId xmlns:a16="http://schemas.microsoft.com/office/drawing/2014/main" id="{C78CAB24-2841-42A0-AD37-AA2B7EEAC8F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22934" r="22934"/>
          <a:stretch>
            <a:fillRect/>
          </a:stretch>
        </p:blipFill>
        <p:spPr/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C2F57662-B137-479C-A38C-655D8307D2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3095" y="3441032"/>
            <a:ext cx="1665326" cy="1616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60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33ED5-D47A-4798-B248-90AA55639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C3C261-77A2-493D-8F62-20D5139B0A74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0" y="1047474"/>
            <a:ext cx="11646588" cy="47630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21032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F80A9-A6F5-4A34-ADBB-03E85F711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no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DBF99F-518C-40DD-AEA5-D34C1FC2B93A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2594764" y="1113039"/>
            <a:ext cx="7002471" cy="54818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32420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CD595-C434-4F29-802C-E462857E3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EBCC5F-6945-45CE-8F6C-6FC563AC47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ocal machine</a:t>
            </a:r>
          </a:p>
          <a:p>
            <a:pPr lvl="1"/>
            <a:r>
              <a:rPr lang="en-US" sz="2800" dirty="0" err="1"/>
              <a:t>Minikube</a:t>
            </a:r>
            <a:endParaRPr lang="en-US" sz="2800" dirty="0"/>
          </a:p>
          <a:p>
            <a:pPr lvl="2"/>
            <a:r>
              <a:rPr lang="en-US" sz="2800" dirty="0">
                <a:hlinkClick r:id="rId2"/>
              </a:rPr>
              <a:t>https://github.com/kubernetes/minikube</a:t>
            </a:r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Cloud</a:t>
            </a:r>
          </a:p>
          <a:p>
            <a:pPr lvl="1"/>
            <a:r>
              <a:rPr lang="en-US" sz="2800" dirty="0"/>
              <a:t>Terraform/Ansible scripts</a:t>
            </a:r>
          </a:p>
          <a:p>
            <a:pPr lvl="1"/>
            <a:r>
              <a:rPr lang="en-US" sz="2800" dirty="0"/>
              <a:t>Azure Kubernetes Service (AKS)</a:t>
            </a:r>
          </a:p>
          <a:p>
            <a:pPr lvl="1"/>
            <a:r>
              <a:rPr lang="en-US" sz="2800" dirty="0"/>
              <a:t>Elastic Kubernetes Service (EKS)</a:t>
            </a:r>
          </a:p>
        </p:txBody>
      </p:sp>
    </p:spTree>
    <p:extLst>
      <p:ext uri="{BB962C8B-B14F-4D97-AF65-F5344CB8AC3E}">
        <p14:creationId xmlns:p14="http://schemas.microsoft.com/office/powerpoint/2010/main" val="10062005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96C4E-3FB6-4702-A69F-F5629BAC0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/>
          <a:lstStyle/>
          <a:p>
            <a:r>
              <a:rPr lang="en-US" dirty="0"/>
              <a:t>OpenShift</a:t>
            </a:r>
          </a:p>
        </p:txBody>
      </p:sp>
      <p:pic>
        <p:nvPicPr>
          <p:cNvPr id="7" name="Picture Placeholder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4E559A95-6832-45BD-A48F-CF0546B8B5D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1182" b="1182"/>
          <a:stretch>
            <a:fillRect/>
          </a:stretch>
        </p:blipFill>
        <p:spPr/>
      </p:pic>
      <p:pic>
        <p:nvPicPr>
          <p:cNvPr id="144392" name="Picture 8" descr="Výsledek obrázku pro openshift logo">
            <a:extLst>
              <a:ext uri="{FF2B5EF4-FFF2-40B4-BE49-F238E27FC236}">
                <a16:creationId xmlns:a16="http://schemas.microsoft.com/office/drawing/2014/main" id="{32E6E6A1-76B7-4479-9572-406C7A5CF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47" y="3207548"/>
            <a:ext cx="2542674" cy="79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4888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37123-23D1-4919-997A-DA81A16DD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87479-260E-4177-873C-B9A554574C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Enterprise Kubernetes</a:t>
            </a:r>
          </a:p>
          <a:p>
            <a:r>
              <a:rPr lang="en-US" sz="2800" dirty="0"/>
              <a:t>Mainly security oriented</a:t>
            </a:r>
          </a:p>
          <a:p>
            <a:r>
              <a:rPr lang="en-US" sz="2800" dirty="0"/>
              <a:t>Can be demanded by customers as the required application deployment</a:t>
            </a:r>
          </a:p>
          <a:p>
            <a:r>
              <a:rPr lang="en-US" sz="2800" dirty="0"/>
              <a:t>Layer over k8s</a:t>
            </a:r>
          </a:p>
          <a:p>
            <a:r>
              <a:rPr lang="en-US" sz="2800" dirty="0"/>
              <a:t>Templates almost the same as in k8s</a:t>
            </a:r>
          </a:p>
          <a:p>
            <a:r>
              <a:rPr lang="en-US" sz="2800" dirty="0"/>
              <a:t>GUI</a:t>
            </a:r>
          </a:p>
        </p:txBody>
      </p:sp>
    </p:spTree>
    <p:extLst>
      <p:ext uri="{BB962C8B-B14F-4D97-AF65-F5344CB8AC3E}">
        <p14:creationId xmlns:p14="http://schemas.microsoft.com/office/powerpoint/2010/main" val="33160682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F5B4F-04A8-499E-8FA3-CADC290F0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shift</a:t>
            </a:r>
            <a:r>
              <a:rPr lang="en-US" dirty="0"/>
              <a:t>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A6F7FF-C7B4-48AF-9E66-C33758E86ACC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164336" y="1066165"/>
            <a:ext cx="9447516" cy="55808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86060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EA77C-9C4D-44CC-BE1F-49A756912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shift</a:t>
            </a:r>
            <a:r>
              <a:rPr lang="en-US" dirty="0"/>
              <a:t>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0BF86D-00FC-448E-9437-692B28327C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Local machine</a:t>
            </a:r>
          </a:p>
          <a:p>
            <a:pPr lvl="1"/>
            <a:r>
              <a:rPr lang="en-US" dirty="0" err="1"/>
              <a:t>Minishift</a:t>
            </a:r>
            <a:r>
              <a:rPr lang="en-US" dirty="0"/>
              <a:t> </a:t>
            </a:r>
          </a:p>
          <a:p>
            <a:pPr lvl="2"/>
            <a:r>
              <a:rPr lang="en-US" dirty="0">
                <a:hlinkClick r:id="rId2"/>
              </a:rPr>
              <a:t>https://www.okd.io/minishift/</a:t>
            </a:r>
            <a:endParaRPr lang="en-US" dirty="0"/>
          </a:p>
          <a:p>
            <a:r>
              <a:rPr lang="en-US" dirty="0"/>
              <a:t>Community version</a:t>
            </a:r>
          </a:p>
          <a:p>
            <a:pPr lvl="1"/>
            <a:r>
              <a:rPr lang="en-US" dirty="0">
                <a:hlinkClick r:id="rId3"/>
              </a:rPr>
              <a:t>https://www.okd.io</a:t>
            </a:r>
            <a:endParaRPr lang="en-US" dirty="0"/>
          </a:p>
          <a:p>
            <a:pPr lvl="1"/>
            <a:r>
              <a:rPr lang="en-US" dirty="0"/>
              <a:t>Azure templates 3.9/3.11 fork</a:t>
            </a:r>
          </a:p>
          <a:p>
            <a:r>
              <a:rPr lang="en-US" dirty="0"/>
              <a:t>Paid versions on RedHat/Azure/Amazon servers</a:t>
            </a:r>
          </a:p>
        </p:txBody>
      </p:sp>
    </p:spTree>
    <p:extLst>
      <p:ext uri="{BB962C8B-B14F-4D97-AF65-F5344CB8AC3E}">
        <p14:creationId xmlns:p14="http://schemas.microsoft.com/office/powerpoint/2010/main" val="4189854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11BE5-AC71-4C94-9D8B-9D4598362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1C3E3E-4E95-456F-A10B-8BEA14C1C4CD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</p:spTree>
    <p:extLst>
      <p:ext uri="{BB962C8B-B14F-4D97-AF65-F5344CB8AC3E}">
        <p14:creationId xmlns:p14="http://schemas.microsoft.com/office/powerpoint/2010/main" val="22457552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6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E8136B-1974-F44B-A771-6CAEAFB46B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ployment transformat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020CA7D-D2F1-2E4C-A1D1-A2AFC6E962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&amp; OpenShif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603DE63-0EB0-4146-9225-209B40525D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88208" y="337052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emo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7E4DA24-0C3D-7F43-B702-C9DB76F581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88208" y="4495240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operator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2DE2B8-C0D3-564D-9BB5-B003C67AB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619953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ummary</a:t>
            </a:r>
          </a:p>
        </p:txBody>
      </p:sp>
      <p:cxnSp>
        <p:nvCxnSpPr>
          <p:cNvPr id="9" name="Connecteur droit 15"/>
          <p:cNvCxnSpPr/>
          <p:nvPr/>
        </p:nvCxnSpPr>
        <p:spPr>
          <a:xfrm>
            <a:off x="2827205" y="123973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21"/>
          <p:cNvCxnSpPr/>
          <p:nvPr/>
        </p:nvCxnSpPr>
        <p:spPr>
          <a:xfrm>
            <a:off x="2817737" y="236444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>
            <a:spLocks noChangeAspect="1"/>
          </p:cNvSpPr>
          <p:nvPr/>
        </p:nvSpPr>
        <p:spPr>
          <a:xfrm>
            <a:off x="2052184" y="139042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63" name="Ellipse 62"/>
          <p:cNvSpPr>
            <a:spLocks noChangeAspect="1"/>
          </p:cNvSpPr>
          <p:nvPr/>
        </p:nvSpPr>
        <p:spPr>
          <a:xfrm>
            <a:off x="2052184" y="246848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69" name="Ellipse 68"/>
          <p:cNvSpPr>
            <a:spLocks noChangeAspect="1"/>
          </p:cNvSpPr>
          <p:nvPr/>
        </p:nvSpPr>
        <p:spPr>
          <a:xfrm>
            <a:off x="2052184" y="3617673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8" name="Ellipse 77"/>
          <p:cNvSpPr>
            <a:spLocks noChangeAspect="1"/>
          </p:cNvSpPr>
          <p:nvPr/>
        </p:nvSpPr>
        <p:spPr>
          <a:xfrm>
            <a:off x="2052184" y="4721337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6" name="Connecteur droit 21"/>
          <p:cNvCxnSpPr/>
          <p:nvPr/>
        </p:nvCxnSpPr>
        <p:spPr>
          <a:xfrm>
            <a:off x="2817737" y="3489159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>
            <a:spLocks noChangeAspect="1"/>
          </p:cNvSpPr>
          <p:nvPr/>
        </p:nvSpPr>
        <p:spPr>
          <a:xfrm>
            <a:off x="2052184" y="586320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5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2817737" y="461387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1"/>
          <p:cNvCxnSpPr/>
          <p:nvPr/>
        </p:nvCxnSpPr>
        <p:spPr>
          <a:xfrm>
            <a:off x="2817737" y="573858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077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E00E0-E527-48BB-B5A1-411BBCF9C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Operators</a:t>
            </a:r>
          </a:p>
        </p:txBody>
      </p:sp>
      <p:pic>
        <p:nvPicPr>
          <p:cNvPr id="6" name="Picture Placeholder 5" descr="A person using a computer&#10;&#10;Description automatically generated">
            <a:extLst>
              <a:ext uri="{FF2B5EF4-FFF2-40B4-BE49-F238E27FC236}">
                <a16:creationId xmlns:a16="http://schemas.microsoft.com/office/drawing/2014/main" id="{AB34B098-FD7F-4341-9667-2135AB53511C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6350" r="16350"/>
          <a:stretch>
            <a:fillRect/>
          </a:stretch>
        </p:blipFill>
        <p:spPr>
          <a:xfrm>
            <a:off x="5727031" y="0"/>
            <a:ext cx="6600401" cy="6858000"/>
          </a:xfrm>
        </p:spPr>
      </p:pic>
    </p:spTree>
    <p:extLst>
      <p:ext uri="{BB962C8B-B14F-4D97-AF65-F5344CB8AC3E}">
        <p14:creationId xmlns:p14="http://schemas.microsoft.com/office/powerpoint/2010/main" val="3520807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35B97-ADA9-4EC9-AA3D-356131789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921EB-A0FC-4F32-A69F-07921A062E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Extensions of k8s/OpenShift API</a:t>
            </a:r>
          </a:p>
          <a:p>
            <a:r>
              <a:rPr lang="en-US" dirty="0"/>
              <a:t>Operator framework</a:t>
            </a:r>
          </a:p>
          <a:p>
            <a:pPr lvl="1"/>
            <a:r>
              <a:rPr lang="en-US" dirty="0">
                <a:hlinkClick r:id="rId2"/>
              </a:rPr>
              <a:t>https://github.com/operator-framework/operator-sdk</a:t>
            </a:r>
            <a:endParaRPr lang="en-US" dirty="0"/>
          </a:p>
          <a:p>
            <a:pPr lvl="1"/>
            <a:r>
              <a:rPr lang="en-US" dirty="0"/>
              <a:t>Go language</a:t>
            </a:r>
          </a:p>
          <a:p>
            <a:pPr lvl="1"/>
            <a:r>
              <a:rPr lang="en-US" dirty="0"/>
              <a:t>Testing</a:t>
            </a:r>
          </a:p>
          <a:p>
            <a:r>
              <a:rPr lang="en-US" dirty="0"/>
              <a:t>Autopilot of application</a:t>
            </a:r>
          </a:p>
          <a:p>
            <a:pPr lvl="1"/>
            <a:r>
              <a:rPr lang="en-US" dirty="0"/>
              <a:t>Installation, upgrades, restore, backups, auto scaling, self repair, …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AC7811-1ACB-4F9C-B268-10415958E67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1810497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CC898-38E0-48D0-A402-76889FEF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E9FEF-0FB6-4D66-82A4-04FCABE319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CustomResource</a:t>
            </a:r>
            <a:r>
              <a:rPr lang="en-US" dirty="0"/>
              <a:t> of OpenShift</a:t>
            </a:r>
          </a:p>
          <a:p>
            <a:r>
              <a:rPr lang="en-US" dirty="0"/>
              <a:t>Control loop</a:t>
            </a:r>
          </a:p>
          <a:p>
            <a:pPr lvl="1"/>
            <a:r>
              <a:rPr lang="en-US" dirty="0"/>
              <a:t>Watch on objects</a:t>
            </a:r>
          </a:p>
          <a:p>
            <a:pPr lvl="1"/>
            <a:r>
              <a:rPr lang="en-US" dirty="0" err="1"/>
              <a:t>OnChange</a:t>
            </a:r>
            <a:r>
              <a:rPr lang="en-US" dirty="0"/>
              <a:t>: analyze difference between actual and desired state</a:t>
            </a:r>
          </a:p>
          <a:p>
            <a:pPr lvl="1"/>
            <a:r>
              <a:rPr lang="en-US" dirty="0"/>
              <a:t>Act on changes</a:t>
            </a:r>
          </a:p>
          <a:p>
            <a:r>
              <a:rPr lang="en-US" dirty="0"/>
              <a:t>Example</a:t>
            </a:r>
          </a:p>
          <a:p>
            <a:pPr lvl="1"/>
            <a:r>
              <a:rPr lang="en-US" dirty="0">
                <a:hlinkClick r:id="rId2"/>
              </a:rPr>
              <a:t>https://github.com/operator-framework/operator-sdk-samples/tree/master/memcached-operator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F6096C8-4887-4E6E-975A-7CB23980219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8094670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387A9-3CC8-4634-9DFE-5D5E096C6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B5995-19C1-4150-B407-42E0389E67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9F7D9AA-9D60-4F7F-A124-0E32F31C99D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7202192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F4585A-D58E-894A-9493-8E12B2E42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FF28D9-CB94-B446-8FF5-DDF16526E1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artin No</a:t>
            </a:r>
            <a:r>
              <a:rPr lang="cs-CZ" dirty="0" err="1">
                <a:solidFill>
                  <a:schemeClr val="bg1"/>
                </a:solidFill>
              </a:rPr>
              <a:t>vák</a:t>
            </a:r>
            <a:r>
              <a:rPr lang="cs-CZ" dirty="0">
                <a:solidFill>
                  <a:schemeClr val="bg1"/>
                </a:solidFill>
              </a:rPr>
              <a:t>,</a:t>
            </a:r>
          </a:p>
          <a:p>
            <a:r>
              <a:rPr lang="cs-CZ" dirty="0" err="1">
                <a:solidFill>
                  <a:schemeClr val="bg1"/>
                </a:solidFill>
              </a:rPr>
              <a:t>m.nov</a:t>
            </a:r>
            <a:r>
              <a:rPr lang="en-US" dirty="0">
                <a:solidFill>
                  <a:schemeClr val="bg1"/>
                </a:solidFill>
              </a:rPr>
              <a:t>4k@gmail.com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BFC1B36-3843-6D40-BB6D-BAB5DD0111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18344517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AC688-DEF8-4AE3-AF1F-51CFE4E2F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6B0D8B-074C-4BA9-99FF-37A93DB1A6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kubernetes.io/</a:t>
            </a:r>
            <a:endParaRPr lang="en-US" dirty="0"/>
          </a:p>
          <a:p>
            <a:r>
              <a:rPr lang="en-US" dirty="0">
                <a:hlinkClick r:id="rId3"/>
              </a:rPr>
              <a:t>https://medium.com/@adilsonbna/installing-a-highly-available-openshift-origin-cluster-f3493cbdb644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0F9DF07-0F09-4705-8187-7B2699943F4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584135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42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pic>
        <p:nvPicPr>
          <p:cNvPr id="48227" name="Picture 99">
            <a:extLst>
              <a:ext uri="{FF2B5EF4-FFF2-40B4-BE49-F238E27FC236}">
                <a16:creationId xmlns:a16="http://schemas.microsoft.com/office/drawing/2014/main" id="{3A1E605D-86CD-4E6C-8C79-1A4DB5C1D6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42"/>
          <a:stretch/>
        </p:blipFill>
        <p:spPr bwMode="auto">
          <a:xfrm>
            <a:off x="5719010" y="-2847"/>
            <a:ext cx="6472989" cy="6898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3203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One big code base</a:t>
            </a:r>
          </a:p>
          <a:p>
            <a:pPr lvl="1"/>
            <a:r>
              <a:rPr lang="en-US" sz="2800" dirty="0"/>
              <a:t>Hard maintenance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One process</a:t>
            </a:r>
          </a:p>
          <a:p>
            <a:pPr lvl="1"/>
            <a:r>
              <a:rPr lang="en-US" sz="2800" dirty="0"/>
              <a:t>Single point of failure</a:t>
            </a:r>
          </a:p>
          <a:p>
            <a:pPr lvl="1"/>
            <a:r>
              <a:rPr lang="en-US" sz="2800" dirty="0"/>
              <a:t>Shared memory advantage</a:t>
            </a:r>
          </a:p>
          <a:p>
            <a:endParaRPr lang="en-US" sz="2800" dirty="0"/>
          </a:p>
          <a:p>
            <a:r>
              <a:rPr lang="en-US" sz="2800" dirty="0"/>
              <a:t>Usually one platform support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170DD7-1C2F-41BA-9FAE-D1F7CA472FC6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 r="70730"/>
          <a:stretch>
            <a:fillRect/>
          </a:stretch>
        </p:blipFill>
        <p:spPr>
          <a:xfrm>
            <a:off x="7771554" y="1143905"/>
            <a:ext cx="2756519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6782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 - Scal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Required horizontal and vertical scaling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Complex custom load balancer configuration</a:t>
            </a:r>
          </a:p>
          <a:p>
            <a:endParaRPr lang="en-US" sz="2800" dirty="0"/>
          </a:p>
          <a:p>
            <a:r>
              <a:rPr lang="en-US" sz="2800" dirty="0"/>
              <a:t>Installer wizard</a:t>
            </a:r>
          </a:p>
          <a:p>
            <a:pPr lvl="1"/>
            <a:r>
              <a:rPr lang="en-US" sz="2533" dirty="0"/>
              <a:t>Separate appli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0809A3-27CF-401D-8122-0D3E3D49FD5B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6985750" y="2857998"/>
            <a:ext cx="3120748" cy="35808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8029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46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Placeholder 4" descr="A picture containing outdoor, many, filled, table&#10;&#10;Description automatically generated">
            <a:extLst>
              <a:ext uri="{FF2B5EF4-FFF2-40B4-BE49-F238E27FC236}">
                <a16:creationId xmlns:a16="http://schemas.microsoft.com/office/drawing/2014/main" id="{BE857AD2-2063-448D-BFCA-9CB08F5BFA75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15652" r="15652"/>
          <a:stretch>
            <a:fillRect/>
          </a:stretch>
        </p:blipFill>
        <p:spPr/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</p:spTree>
    <p:extLst>
      <p:ext uri="{BB962C8B-B14F-4D97-AF65-F5344CB8AC3E}">
        <p14:creationId xmlns:p14="http://schemas.microsoft.com/office/powerpoint/2010/main" val="1341952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Containers</a:t>
            </a:r>
          </a:p>
          <a:p>
            <a:endParaRPr lang="en-US" sz="2800" dirty="0"/>
          </a:p>
          <a:p>
            <a:r>
              <a:rPr lang="en-US" sz="2800" dirty="0"/>
              <a:t>Isolation/Security</a:t>
            </a:r>
          </a:p>
          <a:p>
            <a:endParaRPr lang="en-US" sz="2800" dirty="0"/>
          </a:p>
          <a:p>
            <a:r>
              <a:rPr lang="en-US" sz="2800" dirty="0"/>
              <a:t>Same kernel as host system</a:t>
            </a:r>
          </a:p>
          <a:p>
            <a:pPr lvl="1"/>
            <a:r>
              <a:rPr lang="en-US" sz="2533" dirty="0"/>
              <a:t>Faster than VMs</a:t>
            </a:r>
          </a:p>
          <a:p>
            <a:endParaRPr lang="en-US" sz="2800" dirty="0"/>
          </a:p>
          <a:p>
            <a:r>
              <a:rPr lang="en-US" sz="2800" dirty="0"/>
              <a:t>Image contains everything for run</a:t>
            </a:r>
          </a:p>
          <a:p>
            <a:endParaRPr lang="en-US" sz="2800" dirty="0"/>
          </a:p>
          <a:p>
            <a:r>
              <a:rPr lang="en-US" sz="2800" dirty="0"/>
              <a:t>Useful for run of multiple applications simultaneously</a:t>
            </a:r>
          </a:p>
        </p:txBody>
      </p:sp>
    </p:spTree>
    <p:extLst>
      <p:ext uri="{BB962C8B-B14F-4D97-AF65-F5344CB8AC3E}">
        <p14:creationId xmlns:p14="http://schemas.microsoft.com/office/powerpoint/2010/main" val="37464304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10E6F-7A31-4682-94C5-733C03BA24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ervic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39C88F-E9CD-4134-8C99-4B5B967E9E39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386120" y="1191804"/>
            <a:ext cx="9419760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6827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64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Placeholder 4" descr="A crowd of people in a room&#10;&#10;Description automatically generated">
            <a:extLst>
              <a:ext uri="{FF2B5EF4-FFF2-40B4-BE49-F238E27FC236}">
                <a16:creationId xmlns:a16="http://schemas.microsoft.com/office/drawing/2014/main" id="{4D838A83-EE2E-4F32-BAC5-555A40AAAFE8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22934" r="22934"/>
          <a:stretch>
            <a:fillRect/>
          </a:stretch>
        </p:blipFill>
        <p:spPr/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</p:spTree>
    <p:extLst>
      <p:ext uri="{BB962C8B-B14F-4D97-AF65-F5344CB8AC3E}">
        <p14:creationId xmlns:p14="http://schemas.microsoft.com/office/powerpoint/2010/main" val="2337273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qn3">
  <a:themeElements>
    <a:clrScheme name="Custom 2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FF4100"/>
      </a:accent1>
      <a:accent2>
        <a:srgbClr val="7536F0"/>
      </a:accent2>
      <a:accent3>
        <a:srgbClr val="71BF44"/>
      </a:accent3>
      <a:accent4>
        <a:srgbClr val="05B9F0"/>
      </a:accent4>
      <a:accent5>
        <a:srgbClr val="1ACFBF"/>
      </a:accent5>
      <a:accent6>
        <a:srgbClr val="D9FA4F"/>
      </a:accent6>
      <a:hlink>
        <a:srgbClr val="7536F0"/>
      </a:hlink>
      <a:folHlink>
        <a:srgbClr val="D6084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FC4BDA0B-C998-1546-9B70-3E6AD67EE280}" vid="{B9E57E54-8C89-2C4A-B090-F96E5A0DC0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E614DB5C33854C857B714264FAF87F" ma:contentTypeVersion="7" ma:contentTypeDescription="Create a new document." ma:contentTypeScope="" ma:versionID="35f8abe9de87148f62293986a118c4a2">
  <xsd:schema xmlns:xsd="http://www.w3.org/2001/XMLSchema" xmlns:xs="http://www.w3.org/2001/XMLSchema" xmlns:p="http://schemas.microsoft.com/office/2006/metadata/properties" xmlns:ns2="b7cf5ea5-dbd4-4264-9cbd-1657fe4f88b3" targetNamespace="http://schemas.microsoft.com/office/2006/metadata/properties" ma:root="true" ma:fieldsID="3d210ce03611296f1bb1aa0d41b306e5" ns2:_="">
    <xsd:import namespace="b7cf5ea5-dbd4-4264-9cbd-1657fe4f88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cf5ea5-dbd4-4264-9cbd-1657fe4f88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82C44C-A80D-4577-ACF3-68366839A07A}">
  <ds:schemaRefs>
    <ds:schemaRef ds:uri="http://purl.org/dc/terms/"/>
    <ds:schemaRef ds:uri="http://schemas.openxmlformats.org/package/2006/metadata/core-properties"/>
    <ds:schemaRef ds:uri="08d6cad4-b922-4601-b3e8-51a0c015045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42f5929-5940-4e0d-a5f0-fc160677066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1F9BE2F-D356-4DF1-BECC-5A78EF952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cf5ea5-dbd4-4264-9cbd-1657fe4f88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F5EAB3-8807-4C45-B064-2A4F9EB2E2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terprise-grade-deployment-2019</Template>
  <TotalTime>184</TotalTime>
  <Words>338</Words>
  <Application>Microsoft Office PowerPoint</Application>
  <PresentationFormat>Widescreen</PresentationFormat>
  <Paragraphs>114</Paragraphs>
  <Slides>2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Franklin Gothic Book</vt:lpstr>
      <vt:lpstr>Quicksand</vt:lpstr>
      <vt:lpstr>Verdana</vt:lpstr>
      <vt:lpstr>Wingdings</vt:lpstr>
      <vt:lpstr>1_qn3</vt:lpstr>
      <vt:lpstr>Diapositive think-cell</vt:lpstr>
      <vt:lpstr>Enterprise  Grade Deployment</vt:lpstr>
      <vt:lpstr>Agenda</vt:lpstr>
      <vt:lpstr>Monolithic Architecture</vt:lpstr>
      <vt:lpstr>Monolithic architecture</vt:lpstr>
      <vt:lpstr>Monolithic architecture - Scaling</vt:lpstr>
      <vt:lpstr>Docker</vt:lpstr>
      <vt:lpstr>Docker</vt:lpstr>
      <vt:lpstr>Microservices</vt:lpstr>
      <vt:lpstr>Container Orchestration</vt:lpstr>
      <vt:lpstr>Container orchestration</vt:lpstr>
      <vt:lpstr>Kubernetes (K8s)</vt:lpstr>
      <vt:lpstr>Kubernetes cluster</vt:lpstr>
      <vt:lpstr>Kubernetes node</vt:lpstr>
      <vt:lpstr>Kubernetes installation</vt:lpstr>
      <vt:lpstr>OpenShift</vt:lpstr>
      <vt:lpstr>OpenShift</vt:lpstr>
      <vt:lpstr>Openshift cluster</vt:lpstr>
      <vt:lpstr>Openshift installation</vt:lpstr>
      <vt:lpstr>Demo</vt:lpstr>
      <vt:lpstr>Kubernetes Operators</vt:lpstr>
      <vt:lpstr>Kubernetes operators</vt:lpstr>
      <vt:lpstr>Operators</vt:lpstr>
      <vt:lpstr>Summary</vt:lpstr>
      <vt:lpstr>Thank you!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prise  Grade Deployment</dc:title>
  <dc:creator>Martin Novák</dc:creator>
  <cp:lastModifiedBy>Martin Novák</cp:lastModifiedBy>
  <cp:revision>48</cp:revision>
  <cp:lastPrinted>2019-09-08T06:20:56Z</cp:lastPrinted>
  <dcterms:created xsi:type="dcterms:W3CDTF">2019-10-09T06:01:13Z</dcterms:created>
  <dcterms:modified xsi:type="dcterms:W3CDTF">2019-10-09T09:1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E614DB5C33854C857B714264FAF87F</vt:lpwstr>
  </property>
</Properties>
</file>